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31"/>
  </p:notesMasterIdLst>
  <p:sldIdLst>
    <p:sldId id="257" r:id="rId2"/>
    <p:sldId id="1012" r:id="rId3"/>
    <p:sldId id="996" r:id="rId4"/>
    <p:sldId id="997" r:id="rId5"/>
    <p:sldId id="998" r:id="rId6"/>
    <p:sldId id="1000" r:id="rId7"/>
    <p:sldId id="1001" r:id="rId8"/>
    <p:sldId id="1013" r:id="rId9"/>
    <p:sldId id="1002" r:id="rId10"/>
    <p:sldId id="1003" r:id="rId11"/>
    <p:sldId id="1004" r:id="rId12"/>
    <p:sldId id="1005" r:id="rId13"/>
    <p:sldId id="1006" r:id="rId14"/>
    <p:sldId id="1007" r:id="rId15"/>
    <p:sldId id="1010" r:id="rId16"/>
    <p:sldId id="1011" r:id="rId17"/>
    <p:sldId id="1008" r:id="rId18"/>
    <p:sldId id="1009" r:id="rId19"/>
    <p:sldId id="985" r:id="rId20"/>
    <p:sldId id="1021" r:id="rId21"/>
    <p:sldId id="1022" r:id="rId22"/>
    <p:sldId id="1015" r:id="rId23"/>
    <p:sldId id="256" r:id="rId24"/>
    <p:sldId id="1016" r:id="rId25"/>
    <p:sldId id="1017" r:id="rId26"/>
    <p:sldId id="1018" r:id="rId27"/>
    <p:sldId id="1019" r:id="rId28"/>
    <p:sldId id="1020" r:id="rId29"/>
    <p:sldId id="821" r:id="rId30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51"/>
    <p:restoredTop sz="95859"/>
  </p:normalViewPr>
  <p:slideViewPr>
    <p:cSldViewPr snapToObjects="1">
      <p:cViewPr varScale="1">
        <p:scale>
          <a:sx n="97" d="100"/>
          <a:sy n="97" d="100"/>
        </p:scale>
        <p:origin x="232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86FF-E85D-F143-A9A1-08F64926B286}" type="datetimeFigureOut">
              <a:rPr lang="en-US" smtClean="0"/>
              <a:t>4/21/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ED50A-AB26-4C4A-B663-A6FA9D7A1E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3lTby5RI54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A7B7E-AF3B-9A47-B8B8-C0B7127FC52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230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070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9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931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741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1297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18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John D. Hunter,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robiologis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g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i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03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igin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and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hwork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MATLAB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gicall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ng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4, in 2012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-fledg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t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or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e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hos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Joh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 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lk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plotlib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P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t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ch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DED50A-AB26-4C4A-B663-A6FA9D7A1EE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960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:\Marketing\CD\CD_Logos\UzK_Logo_Quadrat_uniblau\UzK_LogoQuadrat.jpg">
            <a:extLst>
              <a:ext uri="{FF2B5EF4-FFF2-40B4-BE49-F238E27FC236}">
                <a16:creationId xmlns:a16="http://schemas.microsoft.com/office/drawing/2014/main" id="{C6C6057D-C4CF-D648-A3E5-E51140659F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0205525" y="5761935"/>
            <a:ext cx="1418770" cy="721574"/>
          </a:xfrm>
          <a:prstGeom prst="rect">
            <a:avLst/>
          </a:prstGeom>
          <a:noFill/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8319E42-96C5-884B-82BB-2447E2056053}"/>
              </a:ext>
            </a:extLst>
          </p:cNvPr>
          <p:cNvSpPr/>
          <p:nvPr userDrawn="1"/>
        </p:nvSpPr>
        <p:spPr bwMode="auto">
          <a:xfrm>
            <a:off x="0" y="6762440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800"/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310CA648-C844-924C-92F6-C02631FBDF4A}"/>
              </a:ext>
            </a:extLst>
          </p:cNvPr>
          <p:cNvSpPr/>
          <p:nvPr userDrawn="1"/>
        </p:nvSpPr>
        <p:spPr bwMode="auto">
          <a:xfrm>
            <a:off x="534988" y="6237288"/>
            <a:ext cx="54324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000" b="0" i="0" kern="1200" dirty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t>Information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ystems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or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Sustainable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Society (is3) |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WiSo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de-DE" sz="1000" b="0" i="0" dirty="0" err="1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Faculty</a:t>
            </a:r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| Univ.-Prof. Dr. Wolfgang Ketter | </a:t>
            </a:r>
            <a:fld id="{F98651E8-28A9-40EA-971A-EE9F3AB7359B}" type="datetime1">
              <a:rPr lang="de-DE" sz="1000" b="0" i="0" kern="1200" smtClean="0">
                <a:solidFill>
                  <a:schemeClr val="bg1">
                    <a:lumMod val="50000"/>
                  </a:schemeClr>
                </a:solidFill>
                <a:latin typeface="Arial Narrow"/>
                <a:ea typeface="+mn-ea"/>
                <a:cs typeface="Arial Narrow"/>
              </a:rPr>
              <a:pPr>
                <a:defRPr/>
              </a:pPr>
              <a:t>21.04.21</a:t>
            </a:fld>
            <a:r>
              <a:rPr lang="de-DE" sz="1000" b="0" i="0" dirty="0">
                <a:solidFill>
                  <a:schemeClr val="bg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D8A2C00B-E920-394E-8CEC-EAF1DC65AB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534989"/>
            <a:ext cx="11089307" cy="725365"/>
          </a:xfrm>
          <a:prstGeom prst="rect">
            <a:avLst/>
          </a:prstGeom>
        </p:spPr>
        <p:txBody>
          <a:bodyPr lIns="72000"/>
          <a:lstStyle>
            <a:lvl1pPr marL="0" indent="0">
              <a:lnSpc>
                <a:spcPts val="2400"/>
              </a:lnSpc>
              <a:buNone/>
              <a:defRPr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6F0E415F-AD40-FA4F-98DB-D4C8102EAC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260648"/>
            <a:ext cx="11089307" cy="346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44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 err="1"/>
              <a:t>S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630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461" y="233586"/>
            <a:ext cx="1839869" cy="93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47B19-0988-474A-999B-C2ACF6C915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26" t="8677" r="1026" b="86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31F6192-C14D-1845-B35E-365051392C7C}"/>
              </a:ext>
            </a:extLst>
          </p:cNvPr>
          <p:cNvSpPr/>
          <p:nvPr userDrawn="1"/>
        </p:nvSpPr>
        <p:spPr>
          <a:xfrm>
            <a:off x="3763" y="4790485"/>
            <a:ext cx="12188237" cy="2067515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928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242" y="1279526"/>
            <a:ext cx="10739616" cy="4839220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457A93"/>
              </a:buClr>
              <a:buFont typeface="Wingdings" panose="05000000000000000000" pitchFamily="2" charset="2"/>
              <a:buChar char="§"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858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2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 marL="11430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800" b="0" i="0"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1600200" indent="-228600">
              <a:spcBef>
                <a:spcPts val="1200"/>
              </a:spcBef>
              <a:buClr>
                <a:srgbClr val="457A93"/>
              </a:buClr>
              <a:buFont typeface="Wingdings" panose="05000000000000000000" pitchFamily="2" charset="2"/>
              <a:buChar char="§"/>
              <a:defRPr sz="1600" b="0" i="0"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2057400" indent="-228600">
              <a:buClr>
                <a:srgbClr val="457A93"/>
              </a:buClr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38994"/>
            <a:ext cx="12192000" cy="119006"/>
          </a:xfrm>
          <a:prstGeom prst="rect">
            <a:avLst/>
          </a:prstGeom>
          <a:solidFill>
            <a:srgbClr val="457A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/>
          <p:cNvSpPr/>
          <p:nvPr userDrawn="1"/>
        </p:nvSpPr>
        <p:spPr>
          <a:xfrm>
            <a:off x="480053" y="6383868"/>
            <a:ext cx="78241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ustainable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Society (is3) |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iSo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Faculty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 Univ.-Prof. Dr. Wolfgang </a:t>
            </a:r>
            <a:r>
              <a:rPr lang="de-DE" altLang="de-DE" sz="1000" b="0" i="0" err="1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Ketter</a:t>
            </a:r>
            <a:r>
              <a:rPr lang="de-DE" altLang="de-DE" sz="1000" b="0" i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|</a:t>
            </a:r>
            <a:r>
              <a:rPr lang="de-DE" altLang="de-DE" sz="1000" b="0" i="0" baseline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fld id="{F98651E8-28A9-40EA-971A-EE9F3AB7359B}" type="datetime1">
              <a:rPr lang="de-DE" altLang="de-DE" sz="1000" b="0" i="0" smtClean="0">
                <a:solidFill>
                  <a:schemeClr val="bg1">
                    <a:lumMod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21.04.21</a:t>
            </a:fld>
            <a:endParaRPr lang="de-DE" altLang="de-DE" sz="1000" b="0" i="0">
              <a:solidFill>
                <a:schemeClr val="bg1">
                  <a:lumMod val="50000"/>
                </a:schemeClr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8242" y="365124"/>
            <a:ext cx="10739616" cy="9032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rgbClr val="457A9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12" name="Picture 4" descr="M:\Marketing\CD\CD_Logos\UzK_Logo_Quadrat_uniblau\UzK_LogoQuadra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025" y="5702198"/>
            <a:ext cx="1517275" cy="7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71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2523">
          <p15:clr>
            <a:srgbClr val="FBAE40"/>
          </p15:clr>
        </p15:guide>
        <p15:guide id="4" pos="3772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orient="horz" pos="79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27BACB-262E-734F-817B-6AF20102B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74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58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6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44" userDrawn="1">
          <p15:clr>
            <a:srgbClr val="F26B43"/>
          </p15:clr>
        </p15:guide>
        <p15:guide id="2" pos="778" userDrawn="1">
          <p15:clr>
            <a:srgbClr val="F26B43"/>
          </p15:clr>
        </p15:guide>
        <p15:guide id="3" pos="5109" userDrawn="1">
          <p15:clr>
            <a:srgbClr val="F26B43"/>
          </p15:clr>
        </p15:guide>
        <p15:guide id="4" orient="horz" pos="2873" userDrawn="1">
          <p15:clr>
            <a:srgbClr val="F26B43"/>
          </p15:clr>
        </p15:guide>
        <p15:guide id="5" orient="horz" pos="337" userDrawn="1">
          <p15:clr>
            <a:srgbClr val="F26B43"/>
          </p15:clr>
        </p15:guide>
        <p15:guide id="6" pos="937" userDrawn="1">
          <p15:clr>
            <a:srgbClr val="F26B43"/>
          </p15:clr>
        </p15:guide>
        <p15:guide id="7" pos="1374" userDrawn="1">
          <p15:clr>
            <a:srgbClr val="F26B43"/>
          </p15:clr>
        </p15:guide>
        <p15:guide id="8" pos="1536" userDrawn="1">
          <p15:clr>
            <a:srgbClr val="F26B43"/>
          </p15:clr>
        </p15:guide>
        <p15:guide id="9" pos="1967" userDrawn="1">
          <p15:clr>
            <a:srgbClr val="F26B43"/>
          </p15:clr>
        </p15:guide>
        <p15:guide id="10" pos="2132" userDrawn="1">
          <p15:clr>
            <a:srgbClr val="F26B43"/>
          </p15:clr>
        </p15:guide>
        <p15:guide id="11" pos="2566" userDrawn="1">
          <p15:clr>
            <a:srgbClr val="F26B43"/>
          </p15:clr>
        </p15:guide>
        <p15:guide id="12" pos="2725" userDrawn="1">
          <p15:clr>
            <a:srgbClr val="F26B43"/>
          </p15:clr>
        </p15:guide>
        <p15:guide id="13" pos="3164" userDrawn="1">
          <p15:clr>
            <a:srgbClr val="F26B43"/>
          </p15:clr>
        </p15:guide>
        <p15:guide id="14" pos="3323" userDrawn="1">
          <p15:clr>
            <a:srgbClr val="F26B43"/>
          </p15:clr>
        </p15:guide>
        <p15:guide id="15" pos="3759" userDrawn="1">
          <p15:clr>
            <a:srgbClr val="F26B43"/>
          </p15:clr>
        </p15:guide>
        <p15:guide id="16" pos="3921" userDrawn="1">
          <p15:clr>
            <a:srgbClr val="F26B43"/>
          </p15:clr>
        </p15:guide>
        <p15:guide id="17" pos="4357" userDrawn="1">
          <p15:clr>
            <a:srgbClr val="F26B43"/>
          </p15:clr>
        </p15:guide>
        <p15:guide id="18" pos="4519" userDrawn="1">
          <p15:clr>
            <a:srgbClr val="F26B43"/>
          </p15:clr>
        </p15:guide>
        <p15:guide id="19" pos="4955" userDrawn="1">
          <p15:clr>
            <a:srgbClr val="F26B43"/>
          </p15:clr>
        </p15:guide>
        <p15:guide id="20" pos="5551" userDrawn="1">
          <p15:clr>
            <a:srgbClr val="F26B43"/>
          </p15:clr>
        </p15:guide>
        <p15:guide id="21" pos="5708" userDrawn="1">
          <p15:clr>
            <a:srgbClr val="F26B43"/>
          </p15:clr>
        </p15:guide>
        <p15:guide id="22" pos="6149" userDrawn="1">
          <p15:clr>
            <a:srgbClr val="F26B43"/>
          </p15:clr>
        </p15:guide>
        <p15:guide id="23" pos="6306" userDrawn="1">
          <p15:clr>
            <a:srgbClr val="F26B43"/>
          </p15:clr>
        </p15:guide>
        <p15:guide id="24" pos="6740" userDrawn="1">
          <p15:clr>
            <a:srgbClr val="F26B43"/>
          </p15:clr>
        </p15:guide>
        <p15:guide id="25" pos="6905" userDrawn="1">
          <p15:clr>
            <a:srgbClr val="F26B43"/>
          </p15:clr>
        </p15:guide>
        <p15:guide id="26" pos="7338" userDrawn="1">
          <p15:clr>
            <a:srgbClr val="F26B43"/>
          </p15:clr>
        </p15:guide>
        <p15:guide id="27" orient="horz" pos="808" userDrawn="1">
          <p15:clr>
            <a:srgbClr val="F26B43"/>
          </p15:clr>
        </p15:guide>
        <p15:guide id="28" orient="horz" pos="972" userDrawn="1">
          <p15:clr>
            <a:srgbClr val="F26B43"/>
          </p15:clr>
        </p15:guide>
        <p15:guide id="29" orient="horz" pos="1601" userDrawn="1">
          <p15:clr>
            <a:srgbClr val="F26B43"/>
          </p15:clr>
        </p15:guide>
        <p15:guide id="30" orient="horz" pos="2080" userDrawn="1">
          <p15:clr>
            <a:srgbClr val="F26B43"/>
          </p15:clr>
        </p15:guide>
        <p15:guide id="31" orient="horz" pos="2237" userDrawn="1">
          <p15:clr>
            <a:srgbClr val="F26B43"/>
          </p15:clr>
        </p15:guide>
        <p15:guide id="32" orient="horz" pos="3929" userDrawn="1">
          <p15:clr>
            <a:srgbClr val="F26B43"/>
          </p15:clr>
        </p15:guide>
        <p15:guide id="33" orient="horz" pos="3344" userDrawn="1">
          <p15:clr>
            <a:srgbClr val="F26B43"/>
          </p15:clr>
        </p15:guide>
        <p15:guide id="34" orient="horz" pos="3501" userDrawn="1">
          <p15:clr>
            <a:srgbClr val="F26B43"/>
          </p15:clr>
        </p15:guide>
        <p15:guide id="35" orient="horz" pos="2718" userDrawn="1">
          <p15:clr>
            <a:srgbClr val="F26B43"/>
          </p15:clr>
        </p15:guide>
        <p15:guide id="36" pos="3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hyperlink" Target="http://www.is3.uni-koeln.de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tiff"/><Relationship Id="rId4" Type="http://schemas.openxmlformats.org/officeDocument/2006/relationships/hyperlink" Target="mailto:is3-teaching@wiso.uni-koeln.d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428263" y="5157193"/>
            <a:ext cx="11230337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orkshop 2 </a:t>
            </a:r>
            <a:endParaRPr lang="en-US" sz="3200" baseline="300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dvanced Analytics and Applications [AAA]</a:t>
            </a:r>
          </a:p>
        </p:txBody>
      </p:sp>
      <p:sp>
        <p:nvSpPr>
          <p:cNvPr id="5" name="Rechteck 4"/>
          <p:cNvSpPr/>
          <p:nvPr/>
        </p:nvSpPr>
        <p:spPr>
          <a:xfrm>
            <a:off x="428262" y="6335742"/>
            <a:ext cx="112303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110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formation Systems for Sustainable Society (is3) | WiSo Faculty | Univ.-Prof. Dr. Wolfgang Ketter  | </a:t>
            </a:r>
            <a:fld id="{F98651E8-28A9-40EA-971A-EE9F3AB7359B}" type="datetime1">
              <a:rPr lang="en-US" altLang="de-DE" sz="110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4/21/21</a:t>
            </a:fld>
            <a:endParaRPr lang="en-US" altLang="de-DE" sz="110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95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 MS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EEEBF9D-3A69-9942-831D-19AD5FC81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9541" y="2492896"/>
            <a:ext cx="6680200" cy="1752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3B0B2F0-1C5B-E047-9A9A-79004FDA1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5900" y="2552700"/>
            <a:ext cx="66802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369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 MS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446AF12-BFDF-AD46-A2B0-0290F5F5FB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3491" y="2420888"/>
            <a:ext cx="6972300" cy="660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E0F1ECE-2FA8-E346-A4D7-608E83D8B8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3111" y="484257"/>
            <a:ext cx="6515100" cy="170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713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 MS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446AF12-BFDF-AD46-A2B0-0290F5F5FB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3491" y="2420888"/>
            <a:ext cx="6972300" cy="660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E4A86FF-71FB-1C41-B62A-1D826EB05A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5091" y="3112458"/>
            <a:ext cx="6769100" cy="9652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7362266-9B56-A943-8E12-5F2847CCF1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3111" y="484257"/>
            <a:ext cx="6515100" cy="170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593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 MS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5D0EA1-6738-A140-9AB5-47935A390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1824" y="2708920"/>
            <a:ext cx="6756400" cy="381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B6F30E2-57A2-8549-8B09-9CE788718E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2" y="3212976"/>
            <a:ext cx="7632700" cy="11176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BCDA0E4-6755-744B-9B51-6A4C6E865D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3111" y="484257"/>
            <a:ext cx="6515100" cy="170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277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 R^2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05F16FD-4917-864A-86B2-389F278B9A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1741" y="2543200"/>
            <a:ext cx="7035800" cy="5715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3BF89A7-B190-624F-9FF0-215B5969B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3111" y="484257"/>
            <a:ext cx="6515100" cy="170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8762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 R^2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C599D9-A95D-EE4A-B7F2-58B89EE7F8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1027" y="3482307"/>
            <a:ext cx="4229100" cy="13843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05F16FD-4917-864A-86B2-389F278B9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1741" y="2543200"/>
            <a:ext cx="7035800" cy="5715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E3280F5-378B-CD44-A4AF-28D6EDF1A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3111" y="484257"/>
            <a:ext cx="6515100" cy="170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10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 R^2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0BC427E-1C32-964E-9C02-B6E3AF5F8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977" y="2346350"/>
            <a:ext cx="5791200" cy="48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9632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 R^2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0BC427E-1C32-964E-9C02-B6E3AF5F8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977" y="2346350"/>
            <a:ext cx="5791200" cy="482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92BE0BB-C6C0-814C-BAE4-C8006E9D92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828" y="3109291"/>
            <a:ext cx="72009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956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 R^2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65D247-8332-914D-BD12-071E354F4A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157"/>
          <a:stretch/>
        </p:blipFill>
        <p:spPr>
          <a:xfrm>
            <a:off x="1055440" y="1862757"/>
            <a:ext cx="4749800" cy="315236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CD182B3-18EF-5D4F-B2AF-D527526197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0052"/>
          <a:stretch/>
        </p:blipFill>
        <p:spPr>
          <a:xfrm>
            <a:off x="6744072" y="1862757"/>
            <a:ext cx="4749800" cy="315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5386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51384" y="3760863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21980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205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39544" y="1712348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21980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150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3: Working </a:t>
            </a:r>
            <a:r>
              <a:rPr lang="de-DE" dirty="0" err="1"/>
              <a:t>with</a:t>
            </a:r>
            <a:r>
              <a:rPr lang="de-DE" dirty="0"/>
              <a:t> Panda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7A492C-5300-864C-B089-B5C354CCCF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0300" y="2495550"/>
            <a:ext cx="739140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5851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3: </a:t>
            </a:r>
            <a:r>
              <a:rPr lang="de-DE" dirty="0" err="1"/>
              <a:t>Plott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atplotLib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03F05FC-C2D4-5A4E-A160-0C0308E6C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3500" y="1981200"/>
            <a:ext cx="6985000" cy="289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212AC0F-2E65-0F47-8A74-4C5BEEF9EE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6956" y="167881"/>
            <a:ext cx="2590842" cy="174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9207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Motivatio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workshop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985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3.2.1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tents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8" name="Textframe 20">
            <a:extLst>
              <a:ext uri="{FF2B5EF4-FFF2-40B4-BE49-F238E27FC236}">
                <a16:creationId xmlns:a16="http://schemas.microsoft.com/office/drawing/2014/main" id="{C72EFA5D-346C-9742-8146-B4D9D6C8F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835" y="1995308"/>
            <a:ext cx="6032460" cy="33239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>
              <a:defRPr sz="1300" b="1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Extensive documentation </a:t>
            </a: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– 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Th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ocumentation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extensiv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etail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BUT also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har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eginner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. 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igg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rough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d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ediou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time-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sum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(+70.000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lines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). 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Thus,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will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ver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mportan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ncep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ithout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mmencing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an "Indiana Jones" like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dventur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rough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sz="2000" b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codebase</a:t>
            </a:r>
            <a:r>
              <a:rPr lang="de-DE" sz="2000" b="0" dirty="0"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>
              <a:lnSpc>
                <a:spcPct val="90000"/>
              </a:lnSpc>
              <a:buClr>
                <a:srgbClr val="000000"/>
              </a:buClr>
              <a:buSzPct val="100000"/>
              <a:defRPr/>
            </a:pPr>
            <a:endParaRPr lang="de-DE" sz="2000" b="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2000" b="0" u="none" strike="noStrike" kern="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BBED91-ED13-8B43-A899-BF4E08445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440" y="1412776"/>
            <a:ext cx="3665567" cy="407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1175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www.anaconda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distribution/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31A7DF7-A53D-5545-945B-EE0495E078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9496" y="1534695"/>
            <a:ext cx="2819400" cy="37846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88E83506-12B6-5D4F-9C69-5FD963CF27B1}"/>
              </a:ext>
            </a:extLst>
          </p:cNvPr>
          <p:cNvSpPr/>
          <p:nvPr/>
        </p:nvSpPr>
        <p:spPr>
          <a:xfrm>
            <a:off x="5345675" y="299695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b="1" dirty="0">
                <a:solidFill>
                  <a:srgbClr val="56565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John D. Hunter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 (1968 – 2012) was an American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neurobiologist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riginal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author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of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dirty="0">
                <a:solidFill>
                  <a:srgbClr val="36363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995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The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hierarchy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969503" y="6177661"/>
            <a:ext cx="2848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lchetr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John-D-Hunter /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07A3E4-CCE4-B748-B295-9529AB5347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9641" y="914670"/>
            <a:ext cx="4608512" cy="434803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2C909B6-EB94-A04D-91AE-D31CB9090705}"/>
              </a:ext>
            </a:extLst>
          </p:cNvPr>
          <p:cNvSpPr/>
          <p:nvPr/>
        </p:nvSpPr>
        <p:spPr>
          <a:xfrm>
            <a:off x="1762893" y="3088686"/>
            <a:ext cx="25218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plot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[1, 2, 3])</a:t>
            </a:r>
            <a:endParaRPr lang="en-US" sz="3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B30AAFC-4652-4645-A419-30F318B196E2}"/>
              </a:ext>
            </a:extLst>
          </p:cNvPr>
          <p:cNvCxnSpPr>
            <a:stCxn id="8" idx="3"/>
          </p:cNvCxnSpPr>
          <p:nvPr/>
        </p:nvCxnSpPr>
        <p:spPr>
          <a:xfrm flipV="1">
            <a:off x="4284737" y="3381073"/>
            <a:ext cx="2027287" cy="1"/>
          </a:xfrm>
          <a:prstGeom prst="straightConnector1">
            <a:avLst/>
          </a:prstGeom>
          <a:ln w="571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89EADBE7-9230-6F46-97D2-0A4CFD843CB3}"/>
              </a:ext>
            </a:extLst>
          </p:cNvPr>
          <p:cNvSpPr/>
          <p:nvPr/>
        </p:nvSpPr>
        <p:spPr>
          <a:xfrm>
            <a:off x="4172053" y="2964312"/>
            <a:ext cx="21856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rgbClr val="222222"/>
                </a:solidFill>
                <a:latin typeface="SFMono-Regular"/>
              </a:rPr>
              <a:t>Create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tree</a:t>
            </a:r>
            <a:r>
              <a:rPr lang="de-DE" sz="1200" dirty="0">
                <a:solidFill>
                  <a:srgbClr val="222222"/>
                </a:solidFill>
                <a:latin typeface="SFMono-Regular"/>
              </a:rPr>
              <a:t>-like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object</a:t>
            </a:r>
            <a:r>
              <a:rPr lang="de-DE" sz="1200" dirty="0">
                <a:solidFill>
                  <a:srgbClr val="222222"/>
                </a:solidFill>
                <a:latin typeface="SFMono-Regular"/>
              </a:rPr>
              <a:t> </a:t>
            </a:r>
            <a:r>
              <a:rPr lang="de-DE" sz="1200" dirty="0" err="1">
                <a:solidFill>
                  <a:srgbClr val="222222"/>
                </a:solidFill>
                <a:latin typeface="SFMono-Regular"/>
              </a:rPr>
              <a:t>hierarch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799056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hierarchy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od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37517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examples/showcase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atomy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CA486DC-7112-F54F-9CB0-3283E9CDE8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60"/>
          <a:stretch/>
        </p:blipFill>
        <p:spPr>
          <a:xfrm>
            <a:off x="3143672" y="881338"/>
            <a:ext cx="5472608" cy="518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208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37517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Source: 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.org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examples/showcase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atomy.html</a:t>
            </a:r>
            <a:endParaRPr lang="en-US" sz="1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3CC7BD0-EEBC-5647-99CF-F6C1AF21725D}"/>
              </a:ext>
            </a:extLst>
          </p:cNvPr>
          <p:cNvSpPr/>
          <p:nvPr/>
        </p:nvSpPr>
        <p:spPr>
          <a:xfrm>
            <a:off x="983432" y="2941797"/>
            <a:ext cx="355578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plot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[1, 2, 3])</a:t>
            </a:r>
          </a:p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title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„</a:t>
            </a:r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Hello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World“)</a:t>
            </a:r>
          </a:p>
          <a:p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lt.ylabels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(„</a:t>
            </a:r>
            <a:r>
              <a:rPr lang="de-DE" sz="3200" dirty="0" err="1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missions</a:t>
            </a:r>
            <a:r>
              <a:rPr lang="de-DE" sz="3200" dirty="0">
                <a:solidFill>
                  <a:srgbClr val="22222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)</a:t>
            </a:r>
            <a:endParaRPr lang="en-US" sz="3200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944CAA-DDEF-8442-A852-EDCDD5D3C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2006663"/>
            <a:ext cx="3492500" cy="381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975506F-A211-6E45-8AA7-A341B423964B}"/>
              </a:ext>
            </a:extLst>
          </p:cNvPr>
          <p:cNvCxnSpPr/>
          <p:nvPr/>
        </p:nvCxnSpPr>
        <p:spPr>
          <a:xfrm flipV="1">
            <a:off x="4727848" y="3356992"/>
            <a:ext cx="2027287" cy="1"/>
          </a:xfrm>
          <a:prstGeom prst="straightConnector1">
            <a:avLst/>
          </a:prstGeom>
          <a:ln w="57150">
            <a:solidFill>
              <a:srgbClr val="447A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A0615D6-CF72-7246-8F5C-5ADA867033CF}"/>
              </a:ext>
            </a:extLst>
          </p:cNvPr>
          <p:cNvSpPr/>
          <p:nvPr/>
        </p:nvSpPr>
        <p:spPr>
          <a:xfrm>
            <a:off x="7104112" y="3033826"/>
            <a:ext cx="43204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eem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like a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ful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"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enviromen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“ but in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ity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just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imic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ful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ehavior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.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598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2811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pyth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python-matplotlib-guide/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4CA3199-5771-F24B-8832-E04C74CD67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8300" y="1797050"/>
            <a:ext cx="8915400" cy="32639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3D884E0-D8D7-1D42-8AB9-45893D55A5B0}"/>
              </a:ext>
            </a:extLst>
          </p:cNvPr>
          <p:cNvSpPr/>
          <p:nvPr/>
        </p:nvSpPr>
        <p:spPr>
          <a:xfrm>
            <a:off x="4216936" y="5340990"/>
            <a:ext cx="432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pplies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or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lmost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y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function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in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pyplot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4344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Matplotlib</a:t>
            </a:r>
            <a:r>
              <a:rPr lang="de-DE" dirty="0"/>
              <a:t>: </a:t>
            </a:r>
            <a:r>
              <a:rPr lang="de-DE" dirty="0" err="1"/>
              <a:t>Stateful</a:t>
            </a:r>
            <a:r>
              <a:rPr lang="de-DE" dirty="0"/>
              <a:t> versus </a:t>
            </a:r>
            <a:r>
              <a:rPr lang="de-DE" dirty="0" err="1"/>
              <a:t>Stateless</a:t>
            </a:r>
            <a:r>
              <a:rPr lang="de-DE" dirty="0"/>
              <a:t> Approach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ol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CC7D39-2E5A-3D46-AF6C-9A260985F619}"/>
              </a:ext>
            </a:extLst>
          </p:cNvPr>
          <p:cNvSpPr txBox="1"/>
          <p:nvPr/>
        </p:nvSpPr>
        <p:spPr>
          <a:xfrm>
            <a:off x="6070343" y="6192901"/>
            <a:ext cx="2811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https://</a:t>
            </a:r>
            <a:r>
              <a:rPr lang="en-US" sz="120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realpython.com</a:t>
            </a:r>
            <a:r>
              <a:rPr lang="en-US" sz="1200" dirty="0">
                <a:latin typeface="Arial Narrow" panose="020B0604020202020204" pitchFamily="34" charset="0"/>
                <a:cs typeface="Arial Narrow" panose="020B0604020202020204" pitchFamily="34" charset="0"/>
              </a:rPr>
              <a:t>/python-matplotlib-guide/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3D884E0-D8D7-1D42-8AB9-45893D55A5B0}"/>
              </a:ext>
            </a:extLst>
          </p:cNvPr>
          <p:cNvSpPr/>
          <p:nvPr/>
        </p:nvSpPr>
        <p:spPr>
          <a:xfrm>
            <a:off x="1778593" y="3235375"/>
            <a:ext cx="87849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ottom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b="1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line</a:t>
            </a:r>
            <a:r>
              <a:rPr lang="de-DE" b="1" dirty="0">
                <a:latin typeface="Arial Narrow" panose="020B0604020202020204" pitchFamily="34" charset="0"/>
                <a:cs typeface="Arial Narrow" panose="020B0604020202020204" pitchFamily="34" charset="0"/>
              </a:rPr>
              <a:t>: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Matplotlib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nterface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object-oriented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nd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u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i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built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upon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the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stateless</a:t>
            </a:r>
            <a:r>
              <a:rPr lang="de-DE" dirty="0"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  <a:r>
              <a:rPr lang="de-DE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approach</a:t>
            </a:r>
            <a:endParaRPr lang="en-US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2154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884E1F6-7FE4-9449-B13D-1D29BC0F0364}"/>
              </a:ext>
            </a:extLst>
          </p:cNvPr>
          <p:cNvSpPr txBox="1"/>
          <p:nvPr/>
        </p:nvSpPr>
        <p:spPr>
          <a:xfrm>
            <a:off x="4994083" y="1268413"/>
            <a:ext cx="66291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general questions and enquiries 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researc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teach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,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job opening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nd new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project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refer to our website at </a:t>
            </a:r>
            <a:r>
              <a:rPr kumimoji="0" lang="en-US" sz="2800" b="0" i="0" u="sng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3.uni-koeln.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18894C-9714-FB4E-B1C4-92858B939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5183" y="1347208"/>
            <a:ext cx="778786" cy="7787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A20D24-FD58-9F4A-9ADD-C9A1649C7C4E}"/>
              </a:ext>
            </a:extLst>
          </p:cNvPr>
          <p:cNvSpPr txBox="1"/>
          <p:nvPr/>
        </p:nvSpPr>
        <p:spPr>
          <a:xfrm>
            <a:off x="5005633" y="3023840"/>
            <a:ext cx="66176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For specific enquiries regarding this course contact us by sending an email to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IS3 teaching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ddress at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3-teaching@wiso.uni-koeln.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57993"/>
              </a:solidFill>
              <a:effectLst/>
              <a:uLnTx/>
              <a:uFillTx/>
              <a:latin typeface="Arial Narrow" panose="020B0604020202020204" pitchFamily="34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BFCAFD-5C04-A541-BC7B-5669BA92A2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5488" y="3111760"/>
            <a:ext cx="928481" cy="928481"/>
          </a:xfrm>
          <a:prstGeom prst="rect">
            <a:avLst/>
          </a:prstGeom>
        </p:spPr>
      </p:pic>
      <p:cxnSp>
        <p:nvCxnSpPr>
          <p:cNvPr id="11" name="Gerade Verbindung 8">
            <a:extLst>
              <a:ext uri="{FF2B5EF4-FFF2-40B4-BE49-F238E27FC236}">
                <a16:creationId xmlns:a16="http://schemas.microsoft.com/office/drawing/2014/main" id="{2A0DC8B7-F498-4048-B881-E34093EF9BB3}"/>
              </a:ext>
            </a:extLst>
          </p:cNvPr>
          <p:cNvCxnSpPr>
            <a:cxnSpLocks/>
          </p:cNvCxnSpPr>
          <p:nvPr/>
        </p:nvCxnSpPr>
        <p:spPr bwMode="auto">
          <a:xfrm flipV="1">
            <a:off x="2945373" y="1268413"/>
            <a:ext cx="0" cy="485095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F27933-06BF-B743-A20E-116BC6E410E7}"/>
              </a:ext>
            </a:extLst>
          </p:cNvPr>
          <p:cNvSpPr txBox="1"/>
          <p:nvPr/>
        </p:nvSpPr>
        <p:spPr>
          <a:xfrm>
            <a:off x="618242" y="1268413"/>
            <a:ext cx="2327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57993"/>
                </a:solidFill>
                <a:effectLst/>
                <a:uLnTx/>
                <a:uFillTx/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892798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ultiple Choice </a:t>
            </a:r>
            <a:r>
              <a:rPr lang="de-DE" dirty="0" err="1"/>
              <a:t>Question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9497BC-04F3-0D48-8DCB-CA1ADD2D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700" y="2374900"/>
            <a:ext cx="6832600" cy="210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54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ultiple Choice </a:t>
            </a:r>
            <a:r>
              <a:rPr lang="de-DE" dirty="0" err="1"/>
              <a:t>Question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F9497BC-04F3-0D48-8DCB-CA1ADD2DF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700" y="2374900"/>
            <a:ext cx="6832600" cy="2108200"/>
          </a:xfrm>
          <a:prstGeom prst="rect">
            <a:avLst/>
          </a:prstGeom>
        </p:spPr>
      </p:pic>
      <p:sp>
        <p:nvSpPr>
          <p:cNvPr id="4" name="Rahmen 3">
            <a:extLst>
              <a:ext uri="{FF2B5EF4-FFF2-40B4-BE49-F238E27FC236}">
                <a16:creationId xmlns:a16="http://schemas.microsoft.com/office/drawing/2014/main" id="{16D1A8DA-B8C9-1045-98C6-0A06D599D021}"/>
              </a:ext>
            </a:extLst>
          </p:cNvPr>
          <p:cNvSpPr/>
          <p:nvPr/>
        </p:nvSpPr>
        <p:spPr>
          <a:xfrm>
            <a:off x="2823388" y="3863280"/>
            <a:ext cx="2411220" cy="509938"/>
          </a:xfrm>
          <a:prstGeom prst="fram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766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2: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ultiple Choice </a:t>
            </a:r>
            <a:r>
              <a:rPr lang="de-DE" dirty="0" err="1"/>
              <a:t>Question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09D7669-74CF-8A44-BEC9-86453262FB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500" y="2286000"/>
            <a:ext cx="6731000" cy="2286000"/>
          </a:xfrm>
          <a:prstGeom prst="rect">
            <a:avLst/>
          </a:prstGeom>
        </p:spPr>
      </p:pic>
      <p:sp>
        <p:nvSpPr>
          <p:cNvPr id="6" name="&quot;Nein&quot;-Symbol 5">
            <a:extLst>
              <a:ext uri="{FF2B5EF4-FFF2-40B4-BE49-F238E27FC236}">
                <a16:creationId xmlns:a16="http://schemas.microsoft.com/office/drawing/2014/main" id="{03D393F5-7E8D-344A-A42E-1FE236CB53BF}"/>
              </a:ext>
            </a:extLst>
          </p:cNvPr>
          <p:cNvSpPr/>
          <p:nvPr/>
        </p:nvSpPr>
        <p:spPr>
          <a:xfrm>
            <a:off x="3791744" y="1700808"/>
            <a:ext cx="4032448" cy="3456384"/>
          </a:xfrm>
          <a:prstGeom prst="noSmoking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933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3: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ultiple Choice </a:t>
            </a:r>
            <a:r>
              <a:rPr lang="de-DE" dirty="0" err="1"/>
              <a:t>Question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38DCA4-F6CB-C742-8EB1-D4EEAAA1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5100" y="1390650"/>
            <a:ext cx="6781800" cy="40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410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3: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ultiple Choice </a:t>
            </a:r>
            <a:r>
              <a:rPr lang="de-DE" dirty="0" err="1"/>
              <a:t>Question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38DCA4-F6CB-C742-8EB1-D4EEAAA1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5100" y="1390650"/>
            <a:ext cx="6781800" cy="4076700"/>
          </a:xfrm>
          <a:prstGeom prst="rect">
            <a:avLst/>
          </a:prstGeom>
        </p:spPr>
      </p:pic>
      <p:sp>
        <p:nvSpPr>
          <p:cNvPr id="6" name="Rahmen 5">
            <a:extLst>
              <a:ext uri="{FF2B5EF4-FFF2-40B4-BE49-F238E27FC236}">
                <a16:creationId xmlns:a16="http://schemas.microsoft.com/office/drawing/2014/main" id="{9E877D1A-BF7C-6041-A0CC-4D1EE87781A8}"/>
              </a:ext>
            </a:extLst>
          </p:cNvPr>
          <p:cNvSpPr/>
          <p:nvPr/>
        </p:nvSpPr>
        <p:spPr>
          <a:xfrm>
            <a:off x="2796884" y="4923454"/>
            <a:ext cx="2411220" cy="509938"/>
          </a:xfrm>
          <a:prstGeom prst="fram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307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3">
            <a:extLst>
              <a:ext uri="{FF2B5EF4-FFF2-40B4-BE49-F238E27FC236}">
                <a16:creationId xmlns:a16="http://schemas.microsoft.com/office/drawing/2014/main" id="{3E9083A1-A136-D245-A4AD-3F75C99E5FB0}"/>
              </a:ext>
            </a:extLst>
          </p:cNvPr>
          <p:cNvSpPr/>
          <p:nvPr/>
        </p:nvSpPr>
        <p:spPr>
          <a:xfrm>
            <a:off x="551384" y="2852772"/>
            <a:ext cx="11114087" cy="1031052"/>
          </a:xfrm>
          <a:prstGeom prst="rect">
            <a:avLst/>
          </a:prstGeom>
          <a:solidFill>
            <a:srgbClr val="457993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AF2F257-F52D-CF42-90A7-73FAD10CCD2C}"/>
              </a:ext>
            </a:extLst>
          </p:cNvPr>
          <p:cNvSpPr txBox="1"/>
          <p:nvPr/>
        </p:nvSpPr>
        <p:spPr>
          <a:xfrm>
            <a:off x="1043955" y="1668576"/>
            <a:ext cx="37702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</a:t>
            </a:r>
          </a:p>
        </p:txBody>
      </p:sp>
      <p:sp>
        <p:nvSpPr>
          <p:cNvPr id="11" name="TextBox 391">
            <a:extLst>
              <a:ext uri="{FF2B5EF4-FFF2-40B4-BE49-F238E27FC236}">
                <a16:creationId xmlns:a16="http://schemas.microsoft.com/office/drawing/2014/main" id="{26C3BE23-6450-E44A-A401-44063736B399}"/>
              </a:ext>
            </a:extLst>
          </p:cNvPr>
          <p:cNvSpPr txBox="1"/>
          <p:nvPr/>
        </p:nvSpPr>
        <p:spPr>
          <a:xfrm>
            <a:off x="851594" y="2776572"/>
            <a:ext cx="56938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DBD6576F-39DC-1C4F-8D7D-EA4C43070EC7}"/>
              </a:ext>
            </a:extLst>
          </p:cNvPr>
          <p:cNvSpPr txBox="1"/>
          <p:nvPr/>
        </p:nvSpPr>
        <p:spPr>
          <a:xfrm>
            <a:off x="1991544" y="1928787"/>
            <a:ext cx="21980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Multiple Choice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3" name="TextBox 10">
            <a:extLst>
              <a:ext uri="{FF2B5EF4-FFF2-40B4-BE49-F238E27FC236}">
                <a16:creationId xmlns:a16="http://schemas.microsoft.com/office/drawing/2014/main" id="{D3CEAC30-C1B1-9741-98BA-4B43A88B6FCB}"/>
              </a:ext>
            </a:extLst>
          </p:cNvPr>
          <p:cNvSpPr txBox="1"/>
          <p:nvPr/>
        </p:nvSpPr>
        <p:spPr>
          <a:xfrm>
            <a:off x="1991544" y="3068960"/>
            <a:ext cx="16417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lculation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" name="TextBox 391">
            <a:extLst>
              <a:ext uri="{FF2B5EF4-FFF2-40B4-BE49-F238E27FC236}">
                <a16:creationId xmlns:a16="http://schemas.microsoft.com/office/drawing/2014/main" id="{0AC3B067-8836-8E42-92BC-F47C6B262E3D}"/>
              </a:ext>
            </a:extLst>
          </p:cNvPr>
          <p:cNvSpPr txBox="1"/>
          <p:nvPr/>
        </p:nvSpPr>
        <p:spPr>
          <a:xfrm>
            <a:off x="654452" y="3722391"/>
            <a:ext cx="79303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>
                <a:solidFill>
                  <a:srgbClr val="45799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II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E6CB564-6501-974A-B288-7C6F81E57439}"/>
              </a:ext>
            </a:extLst>
          </p:cNvPr>
          <p:cNvSpPr txBox="1"/>
          <p:nvPr/>
        </p:nvSpPr>
        <p:spPr>
          <a:xfrm>
            <a:off x="1991544" y="4014779"/>
            <a:ext cx="5661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rogramming</a:t>
            </a:r>
            <a:endParaRPr lang="en-US" sz="2800" b="1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97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305F05E-B583-4644-83CF-05251D8620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Question</a:t>
            </a:r>
            <a:r>
              <a:rPr lang="de-DE" dirty="0"/>
              <a:t> 1: MS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13DE98-74F3-E64D-817B-2E9FA3E643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alculation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13FDC4B-5849-1D47-8CCC-9206CA510F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6850" y="2540000"/>
            <a:ext cx="6718300" cy="17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434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2</Words>
  <Application>Microsoft Macintosh PowerPoint</Application>
  <PresentationFormat>Breitbild</PresentationFormat>
  <Paragraphs>109</Paragraphs>
  <Slides>29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6" baseType="lpstr">
      <vt:lpstr>Arial</vt:lpstr>
      <vt:lpstr>Arial Narrow</vt:lpstr>
      <vt:lpstr>Calibri</vt:lpstr>
      <vt:lpstr>SFMono-Regular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uhammed Demircan</cp:lastModifiedBy>
  <cp:revision>37</cp:revision>
  <dcterms:created xsi:type="dcterms:W3CDTF">2019-12-26T20:10:50Z</dcterms:created>
  <dcterms:modified xsi:type="dcterms:W3CDTF">2021-04-21T14:16:46Z</dcterms:modified>
</cp:coreProperties>
</file>